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4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1.xml" ContentType="application/vnd.openxmlformats-officedocument.presentationml.tags+xml"/>
  <Override PartName="/ppt/notesSlides/notesSlide4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2" r:id="rId4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40.xml" Id="rId43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4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0.xml.rels>&#65279;<?xml version="1.0" encoding="utf-8"?><Relationships xmlns="http://schemas.openxmlformats.org/package/2006/relationships"><Relationship Type="http://schemas.openxmlformats.org/officeDocument/2006/relationships/slide" Target="/ppt/slides/slide40.xml" Id="rId2" /><Relationship Type="http://schemas.openxmlformats.org/officeDocument/2006/relationships/notesMaster" Target="/ppt/notesMasters/notesMaster1.xml" Id="rId1" /></Relationship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15575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1.xml" Id="rId2" /><Relationship Type="http://schemas.openxmlformats.org/officeDocument/2006/relationships/vmlDrawing" Target="/ppt/drawings/vmlDrawing44.vml" Id="rId1" /><Relationship Type="http://schemas.openxmlformats.org/officeDocument/2006/relationships/image" Target="/ppt/media/image77.emf" Id="rId6" /><Relationship Type="http://schemas.openxmlformats.org/officeDocument/2006/relationships/oleObject" Target="/ppt/embeddings/oleObject44.bin" Id="rId5" /><Relationship Type="http://schemas.openxmlformats.org/officeDocument/2006/relationships/notesSlide" Target="/ppt/notesSlides/notesSlide40.xml" Id="rId4" /></Relationships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FCDA55A-822B-3A03-1985-0279A49E97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2223A68A-511F-BEED-ADC4-98A7521B59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44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3A68A-511F-BEED-ADC4-98A7521B59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itle 45">
            <a:extLst>
              <a:ext uri="{FF2B5EF4-FFF2-40B4-BE49-F238E27FC236}">
                <a16:creationId xmlns:a16="http://schemas.microsoft.com/office/drawing/2014/main" id="{55A2B38A-A47B-2CE9-E595-02E8772D2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de-DE" noProof="0">
                <a:sym typeface="Futura"/>
              </a:rPr>
              <a:t>Five layers with text II</a:t>
            </a:r>
            <a:endParaRPr lang="en-US"/>
          </a:p>
        </p:txBody>
      </p:sp>
      <p:cxnSp>
        <p:nvCxnSpPr>
          <p:cNvPr id="6" name="Gerade Verbindung mit Pfeil 9">
            <a:extLst>
              <a:ext uri="{FF2B5EF4-FFF2-40B4-BE49-F238E27FC236}">
                <a16:creationId xmlns:a16="http://schemas.microsoft.com/office/drawing/2014/main" id="{D8E68075-D0A1-EFDB-1840-AD6B066F5043}"/>
              </a:ext>
            </a:extLst>
          </p:cNvPr>
          <p:cNvCxnSpPr>
            <a:cxnSpLocks/>
          </p:cNvCxnSpPr>
          <p:nvPr/>
        </p:nvCxnSpPr>
        <p:spPr bwMode="gray">
          <a:xfrm flipV="1">
            <a:off x="2766563" y="1557338"/>
            <a:ext cx="0" cy="4501182"/>
          </a:xfrm>
          <a:prstGeom prst="straightConnector1">
            <a:avLst/>
          </a:prstGeom>
          <a:noFill/>
          <a:ln w="38100" cap="rnd" cmpd="sng" algn="ctr">
            <a:solidFill>
              <a:schemeClr val="accent5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Rectangle 3">
            <a:extLst>
              <a:ext uri="{FF2B5EF4-FFF2-40B4-BE49-F238E27FC236}">
                <a16:creationId xmlns:a16="http://schemas.microsoft.com/office/drawing/2014/main" id="{7D04E026-CC32-FC32-2A0B-54422229EC91}"/>
              </a:ext>
            </a:extLst>
          </p:cNvPr>
          <p:cNvSpPr>
            <a:spLocks/>
          </p:cNvSpPr>
          <p:nvPr/>
        </p:nvSpPr>
        <p:spPr bwMode="gray">
          <a:xfrm>
            <a:off x="7445013" y="5339085"/>
            <a:ext cx="351881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chemeClr val="accent6"/>
                </a:solidFill>
              </a:rPr>
              <a:t>Lorem ipsum pulvinar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ras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felis</a:t>
            </a:r>
            <a:r>
              <a:rPr lang="en-US" sz="1200">
                <a:solidFill>
                  <a:srgbClr val="000000"/>
                </a:solidFill>
              </a:rPr>
              <a:t> sit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 pulvinar lorem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Ipsum </a:t>
            </a:r>
            <a:r>
              <a:rPr lang="en-US" sz="1200" err="1">
                <a:solidFill>
                  <a:srgbClr val="000000"/>
                </a:solidFill>
              </a:rPr>
              <a:t>dolor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consetet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342A5B1A-F425-3006-7430-0FF83BE91D6C}"/>
              </a:ext>
            </a:extLst>
          </p:cNvPr>
          <p:cNvSpPr>
            <a:spLocks/>
          </p:cNvSpPr>
          <p:nvPr/>
        </p:nvSpPr>
        <p:spPr bwMode="auto">
          <a:xfrm>
            <a:off x="2876137" y="1557338"/>
            <a:ext cx="757761" cy="825248"/>
          </a:xfrm>
          <a:custGeom>
            <a:avLst/>
            <a:gdLst>
              <a:gd name="connsiteX0" fmla="*/ 0 w 747267"/>
              <a:gd name="connsiteY0" fmla="*/ 0 h 816732"/>
              <a:gd name="connsiteX1" fmla="*/ 747267 w 747267"/>
              <a:gd name="connsiteY1" fmla="*/ 816732 h 816732"/>
              <a:gd name="connsiteX2" fmla="*/ 0 w 747267"/>
              <a:gd name="connsiteY2" fmla="*/ 816732 h 816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7267" h="816732">
                <a:moveTo>
                  <a:pt x="0" y="0"/>
                </a:moveTo>
                <a:lnTo>
                  <a:pt x="747267" y="816732"/>
                </a:lnTo>
                <a:lnTo>
                  <a:pt x="0" y="8167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72000" rtlCol="0" anchor="b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41" name="Freeform 32">
            <a:extLst>
              <a:ext uri="{FF2B5EF4-FFF2-40B4-BE49-F238E27FC236}">
                <a16:creationId xmlns:a16="http://schemas.microsoft.com/office/drawing/2014/main" id="{AE63D4F5-BD33-05A8-6E9A-D96E656658CB}"/>
              </a:ext>
            </a:extLst>
          </p:cNvPr>
          <p:cNvSpPr>
            <a:spLocks/>
          </p:cNvSpPr>
          <p:nvPr/>
        </p:nvSpPr>
        <p:spPr bwMode="auto">
          <a:xfrm>
            <a:off x="2876138" y="2474382"/>
            <a:ext cx="1601772" cy="832014"/>
          </a:xfrm>
          <a:custGeom>
            <a:avLst/>
            <a:gdLst>
              <a:gd name="connsiteX0" fmla="*/ 0 w 1579591"/>
              <a:gd name="connsiteY0" fmla="*/ 0 h 823428"/>
              <a:gd name="connsiteX1" fmla="*/ 832323 w 1579591"/>
              <a:gd name="connsiteY1" fmla="*/ 0 h 823428"/>
              <a:gd name="connsiteX2" fmla="*/ 1579591 w 1579591"/>
              <a:gd name="connsiteY2" fmla="*/ 823428 h 823428"/>
              <a:gd name="connsiteX3" fmla="*/ 0 w 1579591"/>
              <a:gd name="connsiteY3" fmla="*/ 823428 h 82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9591" h="823428">
                <a:moveTo>
                  <a:pt x="0" y="0"/>
                </a:moveTo>
                <a:lnTo>
                  <a:pt x="832323" y="0"/>
                </a:lnTo>
                <a:lnTo>
                  <a:pt x="1579591" y="823428"/>
                </a:lnTo>
                <a:lnTo>
                  <a:pt x="0" y="8234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42" name="Freeform 34">
            <a:extLst>
              <a:ext uri="{FF2B5EF4-FFF2-40B4-BE49-F238E27FC236}">
                <a16:creationId xmlns:a16="http://schemas.microsoft.com/office/drawing/2014/main" id="{94F20105-4D11-E168-B5CC-95723E97DFC0}"/>
              </a:ext>
            </a:extLst>
          </p:cNvPr>
          <p:cNvSpPr>
            <a:spLocks/>
          </p:cNvSpPr>
          <p:nvPr/>
        </p:nvSpPr>
        <p:spPr bwMode="auto">
          <a:xfrm>
            <a:off x="2876137" y="3397233"/>
            <a:ext cx="2444242" cy="823318"/>
          </a:xfrm>
          <a:custGeom>
            <a:avLst/>
            <a:gdLst>
              <a:gd name="connsiteX0" fmla="*/ 0 w 2410394"/>
              <a:gd name="connsiteY0" fmla="*/ 0 h 814821"/>
              <a:gd name="connsiteX1" fmla="*/ 1663126 w 2410394"/>
              <a:gd name="connsiteY1" fmla="*/ 0 h 814821"/>
              <a:gd name="connsiteX2" fmla="*/ 2036760 w 2410394"/>
              <a:gd name="connsiteY2" fmla="*/ 407411 h 814821"/>
              <a:gd name="connsiteX3" fmla="*/ 2410394 w 2410394"/>
              <a:gd name="connsiteY3" fmla="*/ 814821 h 814821"/>
              <a:gd name="connsiteX4" fmla="*/ 0 w 2410394"/>
              <a:gd name="connsiteY4" fmla="*/ 814821 h 81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0394" h="814821">
                <a:moveTo>
                  <a:pt x="0" y="0"/>
                </a:moveTo>
                <a:lnTo>
                  <a:pt x="1663126" y="0"/>
                </a:lnTo>
                <a:lnTo>
                  <a:pt x="2036760" y="407411"/>
                </a:lnTo>
                <a:lnTo>
                  <a:pt x="2410394" y="814821"/>
                </a:lnTo>
                <a:lnTo>
                  <a:pt x="0" y="8148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43" name="Freeform 36">
            <a:extLst>
              <a:ext uri="{FF2B5EF4-FFF2-40B4-BE49-F238E27FC236}">
                <a16:creationId xmlns:a16="http://schemas.microsoft.com/office/drawing/2014/main" id="{3BEA7299-B3E6-AFDF-7F0D-A7A2BDACD747}"/>
              </a:ext>
            </a:extLst>
          </p:cNvPr>
          <p:cNvSpPr>
            <a:spLocks/>
          </p:cNvSpPr>
          <p:nvPr/>
        </p:nvSpPr>
        <p:spPr bwMode="auto">
          <a:xfrm>
            <a:off x="2876137" y="4311386"/>
            <a:ext cx="3288257" cy="832014"/>
          </a:xfrm>
          <a:custGeom>
            <a:avLst/>
            <a:gdLst>
              <a:gd name="connsiteX0" fmla="*/ 0 w 3242721"/>
              <a:gd name="connsiteY0" fmla="*/ 0 h 823428"/>
              <a:gd name="connsiteX1" fmla="*/ 2495453 w 3242721"/>
              <a:gd name="connsiteY1" fmla="*/ 0 h 823428"/>
              <a:gd name="connsiteX2" fmla="*/ 3242721 w 3242721"/>
              <a:gd name="connsiteY2" fmla="*/ 823428 h 823428"/>
              <a:gd name="connsiteX3" fmla="*/ 0 w 3242721"/>
              <a:gd name="connsiteY3" fmla="*/ 823428 h 82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2721" h="823428">
                <a:moveTo>
                  <a:pt x="0" y="0"/>
                </a:moveTo>
                <a:lnTo>
                  <a:pt x="2495453" y="0"/>
                </a:lnTo>
                <a:lnTo>
                  <a:pt x="3242721" y="823428"/>
                </a:lnTo>
                <a:lnTo>
                  <a:pt x="0" y="8234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44" name="Freeform 37">
            <a:extLst>
              <a:ext uri="{FF2B5EF4-FFF2-40B4-BE49-F238E27FC236}">
                <a16:creationId xmlns:a16="http://schemas.microsoft.com/office/drawing/2014/main" id="{B0D912C6-F2F3-DBDD-F48A-3BA4E9398E48}"/>
              </a:ext>
            </a:extLst>
          </p:cNvPr>
          <p:cNvSpPr>
            <a:spLocks/>
          </p:cNvSpPr>
          <p:nvPr/>
        </p:nvSpPr>
        <p:spPr bwMode="auto">
          <a:xfrm>
            <a:off x="2876137" y="5235202"/>
            <a:ext cx="4130725" cy="823318"/>
          </a:xfrm>
          <a:custGeom>
            <a:avLst/>
            <a:gdLst>
              <a:gd name="connsiteX0" fmla="*/ 0 w 4073523"/>
              <a:gd name="connsiteY0" fmla="*/ 0 h 814821"/>
              <a:gd name="connsiteX1" fmla="*/ 3326255 w 4073523"/>
              <a:gd name="connsiteY1" fmla="*/ 0 h 814821"/>
              <a:gd name="connsiteX2" fmla="*/ 4073523 w 4073523"/>
              <a:gd name="connsiteY2" fmla="*/ 814821 h 814821"/>
              <a:gd name="connsiteX3" fmla="*/ 0 w 4073523"/>
              <a:gd name="connsiteY3" fmla="*/ 814821 h 81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3523" h="814821">
                <a:moveTo>
                  <a:pt x="0" y="0"/>
                </a:moveTo>
                <a:lnTo>
                  <a:pt x="3326255" y="0"/>
                </a:lnTo>
                <a:lnTo>
                  <a:pt x="4073523" y="814821"/>
                </a:lnTo>
                <a:lnTo>
                  <a:pt x="0" y="81482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0" rIns="0" bIns="0" rtlCol="0" anchor="ctr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240E95A-2794-A599-C157-233063E16687}"/>
              </a:ext>
            </a:extLst>
          </p:cNvPr>
          <p:cNvSpPr>
            <a:spLocks/>
          </p:cNvSpPr>
          <p:nvPr/>
        </p:nvSpPr>
        <p:spPr bwMode="gray">
          <a:xfrm>
            <a:off x="1666318" y="3484764"/>
            <a:ext cx="92411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72000" bIns="0" anchor="ctr">
            <a:spAutoFit/>
          </a:bodyPr>
          <a:lstStyle/>
          <a:p>
            <a:pPr algn="r"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Lorem ipsum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400" b="1">
                <a:solidFill>
                  <a:srgbClr val="000000"/>
                </a:solidFill>
              </a:rPr>
              <a:t>pulvinar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C5F182DC-92E7-07B7-3443-341C82D954C9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2590436" y="3807929"/>
            <a:ext cx="176127" cy="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3">
            <a:extLst>
              <a:ext uri="{FF2B5EF4-FFF2-40B4-BE49-F238E27FC236}">
                <a16:creationId xmlns:a16="http://schemas.microsoft.com/office/drawing/2014/main" id="{4B1A0913-4DEF-7E6D-947E-8BC00D94D3A1}"/>
              </a:ext>
            </a:extLst>
          </p:cNvPr>
          <p:cNvSpPr>
            <a:spLocks/>
          </p:cNvSpPr>
          <p:nvPr/>
        </p:nvSpPr>
        <p:spPr bwMode="gray">
          <a:xfrm>
            <a:off x="6602544" y="4419616"/>
            <a:ext cx="351881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chemeClr val="accent6"/>
                </a:solidFill>
              </a:rPr>
              <a:t>Lorem ipsum pulvinar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ras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felis</a:t>
            </a:r>
            <a:r>
              <a:rPr lang="en-US" sz="1200">
                <a:solidFill>
                  <a:srgbClr val="000000"/>
                </a:solidFill>
              </a:rPr>
              <a:t> sit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 pulvinar lorem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Ipsum </a:t>
            </a:r>
            <a:r>
              <a:rPr lang="en-US" sz="1200" err="1">
                <a:solidFill>
                  <a:srgbClr val="000000"/>
                </a:solidFill>
              </a:rPr>
              <a:t>dolor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consetet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76B475-81C7-9612-AD13-35D976E3D691}"/>
              </a:ext>
            </a:extLst>
          </p:cNvPr>
          <p:cNvSpPr>
            <a:spLocks/>
          </p:cNvSpPr>
          <p:nvPr/>
        </p:nvSpPr>
        <p:spPr bwMode="gray">
          <a:xfrm>
            <a:off x="5758529" y="3501116"/>
            <a:ext cx="351881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chemeClr val="accent6"/>
                </a:solidFill>
              </a:rPr>
              <a:t>Lorem ipsum pulvinar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ras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felis</a:t>
            </a:r>
            <a:r>
              <a:rPr lang="en-US" sz="1200">
                <a:solidFill>
                  <a:srgbClr val="000000"/>
                </a:solidFill>
              </a:rPr>
              <a:t> sit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 pulvinar lorem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Ipsum </a:t>
            </a:r>
            <a:r>
              <a:rPr lang="en-US" sz="1200" err="1">
                <a:solidFill>
                  <a:srgbClr val="000000"/>
                </a:solidFill>
              </a:rPr>
              <a:t>dolor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consetet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1A293DC-E2C0-764C-04D0-465B1C0AC9A8}"/>
              </a:ext>
            </a:extLst>
          </p:cNvPr>
          <p:cNvSpPr>
            <a:spLocks/>
          </p:cNvSpPr>
          <p:nvPr/>
        </p:nvSpPr>
        <p:spPr bwMode="gray">
          <a:xfrm>
            <a:off x="4916060" y="2582613"/>
            <a:ext cx="351881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chemeClr val="accent6"/>
                </a:solidFill>
              </a:rPr>
              <a:t>Lorem ipsum pulvinar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ras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felis</a:t>
            </a:r>
            <a:r>
              <a:rPr lang="en-US" sz="1200">
                <a:solidFill>
                  <a:srgbClr val="000000"/>
                </a:solidFill>
              </a:rPr>
              <a:t> sit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 pulvinar lorem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Ipsum </a:t>
            </a:r>
            <a:r>
              <a:rPr lang="en-US" sz="1200" err="1">
                <a:solidFill>
                  <a:srgbClr val="000000"/>
                </a:solidFill>
              </a:rPr>
              <a:t>dolor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consetet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80C1999-BA02-3542-703C-328A90EC8C44}"/>
              </a:ext>
            </a:extLst>
          </p:cNvPr>
          <p:cNvSpPr>
            <a:spLocks/>
          </p:cNvSpPr>
          <p:nvPr/>
        </p:nvSpPr>
        <p:spPr bwMode="gray">
          <a:xfrm>
            <a:off x="4072049" y="1662186"/>
            <a:ext cx="351881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pulvinar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ras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felis</a:t>
            </a:r>
            <a:r>
              <a:rPr lang="en-US" sz="1200">
                <a:solidFill>
                  <a:srgbClr val="000000"/>
                </a:solidFill>
              </a:rPr>
              <a:t> sit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fringilla</a:t>
            </a:r>
            <a:r>
              <a:rPr lang="en-US" sz="1200">
                <a:solidFill>
                  <a:srgbClr val="000000"/>
                </a:solidFill>
              </a:rPr>
              <a:t> pulvinar lorem</a:t>
            </a:r>
          </a:p>
          <a:p>
            <a:pPr marL="180000" indent="-180000" defTabSz="9794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Ipsum </a:t>
            </a:r>
            <a:r>
              <a:rPr lang="en-US" sz="1200" err="1">
                <a:solidFill>
                  <a:srgbClr val="000000"/>
                </a:solidFill>
              </a:rPr>
              <a:t>dolor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amet</a:t>
            </a:r>
            <a:r>
              <a:rPr lang="en-US" sz="1200">
                <a:solidFill>
                  <a:srgbClr val="000000"/>
                </a:solidFill>
              </a:rPr>
              <a:t>, </a:t>
            </a:r>
            <a:r>
              <a:rPr lang="en-US" sz="1200" err="1">
                <a:solidFill>
                  <a:srgbClr val="000000"/>
                </a:solidFill>
              </a:rPr>
              <a:t>consetet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6DB5C942-D4B0-8C0F-BA7A-B035778C9E5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508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riangle, triangles, layer</a:t>
            </a:r>
          </a:p>
        </p:txBody>
      </p:sp>
    </p:spTree>
    <p:extLst>
      <p:ext uri="{BB962C8B-B14F-4D97-AF65-F5344CB8AC3E}">
        <p14:creationId xmlns:p14="http://schemas.microsoft.com/office/powerpoint/2010/main" val="1747602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